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.xml" ContentType="application/vnd.openxmlformats-officedocument.theme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0" r:id="rId2"/>
  </p:sldMasterIdLst>
  <p:notesMasterIdLst>
    <p:notesMasterId r:id="rId12"/>
  </p:notesMasterIdLst>
  <p:sldIdLst>
    <p:sldId id="293" r:id="rId3"/>
    <p:sldId id="256" r:id="rId4"/>
    <p:sldId id="290" r:id="rId5"/>
    <p:sldId id="291" r:id="rId6"/>
    <p:sldId id="289" r:id="rId7"/>
    <p:sldId id="288" r:id="rId8"/>
    <p:sldId id="287" r:id="rId9"/>
    <p:sldId id="286" r:id="rId10"/>
    <p:sldId id="285" r:id="rId11"/>
  </p:sldIdLst>
  <p:sldSz cx="9144000" cy="6858000" type="screen4x3"/>
  <p:notesSz cx="6794500" cy="99314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4A18"/>
    <a:srgbClr val="F5E72F"/>
    <a:srgbClr val="22A690"/>
    <a:srgbClr val="328BB8"/>
    <a:srgbClr val="419DCB"/>
    <a:srgbClr val="39C5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912" autoAdjust="0"/>
    <p:restoredTop sz="90810" autoAdjust="0"/>
  </p:normalViewPr>
  <p:slideViewPr>
    <p:cSldViewPr>
      <p:cViewPr varScale="1">
        <p:scale>
          <a:sx n="60" d="100"/>
          <a:sy n="60" d="100"/>
        </p:scale>
        <p:origin x="-1194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C11181-48FC-49AF-A9F7-0D3EE168DBB0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752F1B-222A-4B3A-9878-97F1EC642CF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9758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 userDrawn="1"/>
        </p:nvGrpSpPr>
        <p:grpSpPr>
          <a:xfrm>
            <a:off x="-36873" y="-47003"/>
            <a:ext cx="9188615" cy="846767"/>
            <a:chOff x="-49164" y="-47003"/>
            <a:chExt cx="12251487" cy="846767"/>
          </a:xfrm>
        </p:grpSpPr>
        <p:sp>
          <p:nvSpPr>
            <p:cNvPr id="2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 dirty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 dirty="0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46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0"/>
            <a:ext cx="9144000" cy="2556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7" name="Text Placeholder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77008" y="1996701"/>
            <a:ext cx="7879373" cy="1328056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spcBef>
                <a:spcPts val="369"/>
              </a:spcBef>
              <a:defRPr/>
            </a:lvl3pPr>
            <a:lvl4pPr>
              <a:defRPr/>
            </a:lvl4pPr>
          </a:lstStyle>
          <a:p>
            <a:pPr lvl="0"/>
            <a:r>
              <a:rPr lang="en-US" dirty="0" smtClean="0"/>
              <a:t>Click to edit Master text styles – Level 0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</a:p>
        </p:txBody>
      </p:sp>
      <p:sp>
        <p:nvSpPr>
          <p:cNvPr id="43" name="Title 4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3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562594" y="1179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fld id="{7AA7B471-74A3-4F5F-8955-6C99E2375CAC}" type="slidenum">
              <a:rPr lang="en-US" sz="1350">
                <a:solidFill>
                  <a:prstClr val="white"/>
                </a:solidFill>
                <a:cs typeface="Arial" pitchFamily="34" charset="0"/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50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54196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/>
          <p:cNvGrpSpPr/>
          <p:nvPr userDrawn="1"/>
        </p:nvGrpSpPr>
        <p:grpSpPr>
          <a:xfrm>
            <a:off x="-36873" y="-47003"/>
            <a:ext cx="9188615" cy="846767"/>
            <a:chOff x="-49164" y="-47003"/>
            <a:chExt cx="12251487" cy="846767"/>
          </a:xfrm>
        </p:grpSpPr>
        <p:sp>
          <p:nvSpPr>
            <p:cNvPr id="2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 dirty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 dirty="0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10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2"/>
            <a:ext cx="9144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77008" y="856802"/>
            <a:ext cx="7879373" cy="773999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5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562594" y="1179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fld id="{7AA7B471-74A3-4F5F-8955-6C99E2375CAC}" type="slidenum">
              <a:rPr lang="en-US" sz="1350">
                <a:solidFill>
                  <a:prstClr val="white"/>
                </a:solidFill>
                <a:cs typeface="Arial" pitchFamily="34" charset="0"/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50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9595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2"/>
            <a:ext cx="9144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781324" y="164668"/>
            <a:ext cx="3980897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fld id="{7AA7B471-74A3-4F5F-8955-6C99E2375CAC}" type="slidenum">
              <a:rPr lang="en-US" sz="105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50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83760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Location, date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1083323" y="6066000"/>
            <a:ext cx="7081476" cy="370800"/>
          </a:xfrm>
        </p:spPr>
        <p:txBody>
          <a:bodyPr vert="horz" wrap="square" lIns="28800" tIns="0" rIns="0" bIns="0" rtlCol="0" anchor="b" anchorCtr="0">
            <a:no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1569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marL="0" marR="0" lvl="0" indent="0" algn="l" defTabSz="844083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cation, date of presentation (month, day, year)</a:t>
            </a:r>
            <a:endParaRPr lang="en-US" dirty="0"/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083323" y="4566722"/>
            <a:ext cx="7081476" cy="654191"/>
          </a:xfrm>
        </p:spPr>
        <p:txBody>
          <a:bodyPr vert="horz" lIns="14400" tIns="0" rIns="0" bIns="216000" rtlCol="0" anchor="t" anchorCtr="0">
            <a:sp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3047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844083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ype of document</a:t>
            </a:r>
            <a:endParaRPr lang="en-US" dirty="0"/>
          </a:p>
        </p:txBody>
      </p:sp>
      <p:sp>
        <p:nvSpPr>
          <p:cNvPr id="6" name="Project name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083323" y="3749517"/>
            <a:ext cx="7081476" cy="752835"/>
          </a:xfrm>
        </p:spPr>
        <p:txBody>
          <a:bodyPr vert="horz" lIns="0" tIns="0" rIns="0" bIns="0" rtlCol="0" anchor="b" anchorCtr="0">
            <a:spAutoFit/>
          </a:bodyPr>
          <a:lstStyle>
            <a:lvl1pPr algn="l">
              <a:lnSpc>
                <a:spcPct val="93000"/>
              </a:lnSpc>
              <a:spcBef>
                <a:spcPts val="0"/>
              </a:spcBef>
              <a:defRPr kumimoji="0" lang="en-US" sz="4892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4" name="Slide Number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781324" y="1646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fld id="{7AA7B471-74A3-4F5F-8955-6C99E2375CAC}" type="slidenum">
              <a:rPr lang="en-US" sz="135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50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6195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/>
          <p:cNvGrpSpPr/>
          <p:nvPr userDrawn="1"/>
        </p:nvGrpSpPr>
        <p:grpSpPr>
          <a:xfrm>
            <a:off x="-36873" y="-47003"/>
            <a:ext cx="9188615" cy="846767"/>
            <a:chOff x="-49164" y="-47003"/>
            <a:chExt cx="12251487" cy="846767"/>
          </a:xfrm>
        </p:grpSpPr>
        <p:sp>
          <p:nvSpPr>
            <p:cNvPr id="3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2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 dirty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 dirty="0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0825"/>
            <a:ext cx="9144000" cy="2667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2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663354" y="6718300"/>
            <a:ext cx="105798" cy="127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fld id="{7AA7B471-74A3-4F5F-8955-6C99E2375CAC}" type="slidenum">
              <a:rPr lang="en-US" sz="831">
                <a:solidFill>
                  <a:prstClr val="black"/>
                </a:solidFill>
                <a:cs typeface="Arial" pitchFamily="34" charset="0"/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3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6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8556381" y="6734177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677106" y="1996523"/>
            <a:ext cx="7883672" cy="3190104"/>
          </a:xfrm>
        </p:spPr>
        <p:txBody>
          <a:bodyPr>
            <a:spAutoFit/>
          </a:bodyPr>
          <a:lstStyle>
            <a:lvl1pPr marL="332316" indent="-332316">
              <a:spcBef>
                <a:spcPts val="1847"/>
              </a:spcBef>
              <a:tabLst>
                <a:tab pos="7866381" algn="r"/>
              </a:tabLst>
              <a:defRPr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664632" indent="-332316">
              <a:spcBef>
                <a:spcPts val="554"/>
              </a:spcBef>
              <a:buNone/>
              <a:tabLst>
                <a:tab pos="7866381" algn="r"/>
              </a:tabLst>
              <a:defRPr b="0">
                <a:solidFill>
                  <a:schemeClr val="tx1"/>
                </a:solidFill>
              </a:defRPr>
            </a:lvl2pPr>
            <a:lvl3pPr marL="1163106" indent="-498474">
              <a:spcBef>
                <a:spcPts val="0"/>
              </a:spcBef>
              <a:buNone/>
              <a:tabLst>
                <a:tab pos="7866381" algn="r"/>
              </a:tabLst>
              <a:defRPr>
                <a:solidFill>
                  <a:schemeClr val="tx1"/>
                </a:solidFill>
              </a:defRPr>
            </a:lvl3pPr>
            <a:lvl4pPr marL="1159149" indent="-493847">
              <a:buNone/>
              <a:tabLst>
                <a:tab pos="7866381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A.	xxx	xx</a:t>
            </a:r>
          </a:p>
          <a:p>
            <a:pPr lvl="0"/>
            <a:r>
              <a:rPr lang="en-US" dirty="0" smtClean="0"/>
              <a:t>B.	xxx	xx</a:t>
            </a:r>
          </a:p>
          <a:p>
            <a:pPr lvl="1"/>
            <a:r>
              <a:rPr lang="en-US" dirty="0" smtClean="0"/>
              <a:t>1.	xxx	xx</a:t>
            </a:r>
          </a:p>
          <a:p>
            <a:pPr lvl="1"/>
            <a:r>
              <a:rPr lang="en-US" dirty="0" smtClean="0"/>
              <a:t>2.	xxx	xx</a:t>
            </a:r>
          </a:p>
          <a:p>
            <a:pPr lvl="2"/>
            <a:r>
              <a:rPr lang="en-US" dirty="0" smtClean="0"/>
              <a:t>2.1	xxx	xx</a:t>
            </a:r>
          </a:p>
          <a:p>
            <a:pPr lvl="2"/>
            <a:r>
              <a:rPr lang="en-US" dirty="0" smtClean="0"/>
              <a:t>2.2	xxx	xx</a:t>
            </a:r>
          </a:p>
          <a:p>
            <a:pPr lvl="0"/>
            <a:r>
              <a:rPr lang="en-US" dirty="0" smtClean="0"/>
              <a:t>C.	xxx	xx</a:t>
            </a:r>
          </a:p>
          <a:p>
            <a:pPr lvl="1"/>
            <a:r>
              <a:rPr lang="en-US" dirty="0" smtClean="0"/>
              <a:t>1.	xxx	xx</a:t>
            </a:r>
          </a:p>
          <a:p>
            <a:pPr lvl="2"/>
            <a:r>
              <a:rPr lang="en-US" dirty="0" smtClean="0"/>
              <a:t>1.1	xxx	xx</a:t>
            </a:r>
          </a:p>
        </p:txBody>
      </p:sp>
      <p:sp>
        <p:nvSpPr>
          <p:cNvPr id="10" name="Contents Title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77105" y="857851"/>
            <a:ext cx="7886603" cy="356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defTabSz="844083">
              <a:spcBef>
                <a:spcPct val="0"/>
              </a:spcBef>
              <a:tabLst>
                <a:tab pos="7869312" algn="r"/>
              </a:tabLst>
              <a:defRPr/>
            </a:pPr>
            <a:r>
              <a:rPr lang="ru-RU" altLang="de-DE" sz="2492" b="1" dirty="0" smtClean="0">
                <a:solidFill>
                  <a:srgbClr val="B12726"/>
                </a:solidFill>
                <a:cs typeface="Arial" pitchFamily="34" charset="0"/>
              </a:rPr>
              <a:t>Оглавление</a:t>
            </a:r>
            <a:r>
              <a:rPr lang="en-US" altLang="de-DE" sz="2492" b="1" dirty="0" smtClean="0">
                <a:solidFill>
                  <a:srgbClr val="B12726"/>
                </a:solidFill>
                <a:cs typeface="Arial" pitchFamily="34" charset="0"/>
              </a:rPr>
              <a:t>	</a:t>
            </a:r>
            <a:endParaRPr lang="en-US" altLang="de-DE" sz="2492" b="1" dirty="0">
              <a:solidFill>
                <a:srgbClr val="B12726"/>
              </a:solidFill>
              <a:cs typeface="Arial" pitchFamily="34" charset="0"/>
            </a:endParaRPr>
          </a:p>
        </p:txBody>
      </p:sp>
      <p:sp>
        <p:nvSpPr>
          <p:cNvPr id="35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8562594" y="1179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fld id="{7AA7B471-74A3-4F5F-8955-6C99E2375CAC}" type="slidenum">
              <a:rPr lang="en-US" sz="1350">
                <a:solidFill>
                  <a:prstClr val="white"/>
                </a:solidFill>
                <a:cs typeface="Arial" pitchFamily="34" charset="0"/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50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7737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Position Lines"/>
          <p:cNvGrpSpPr/>
          <p:nvPr/>
        </p:nvGrpSpPr>
        <p:grpSpPr>
          <a:xfrm>
            <a:off x="680333" y="6886575"/>
            <a:ext cx="422928" cy="72000"/>
            <a:chOff x="737028" y="6886575"/>
            <a:chExt cx="458172" cy="72000"/>
          </a:xfrm>
        </p:grpSpPr>
        <p:sp>
          <p:nvSpPr>
            <p:cNvPr id="10" name="Line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737028" y="6886575"/>
              <a:ext cx="0" cy="72000"/>
            </a:xfrm>
            <a:prstGeom prst="line">
              <a:avLst/>
            </a:prstGeom>
            <a:noFill/>
            <a:ln w="158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b="1" dirty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1" name="Line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195200" y="6886575"/>
              <a:ext cx="0" cy="72000"/>
            </a:xfrm>
            <a:prstGeom prst="line">
              <a:avLst/>
            </a:prstGeom>
            <a:noFill/>
            <a:ln w="31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b="1" dirty="0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13" name="Rectangle 12"/>
          <p:cNvSpPr/>
          <p:nvPr>
            <p:custDataLst>
              <p:tags r:id="rId1"/>
            </p:custDataLst>
          </p:nvPr>
        </p:nvSpPr>
        <p:spPr>
          <a:xfrm>
            <a:off x="0" y="2"/>
            <a:ext cx="9144000" cy="4445793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4" name="Rectangle 13"/>
          <p:cNvSpPr/>
          <p:nvPr>
            <p:custDataLst>
              <p:tags r:id="rId2"/>
            </p:custDataLst>
          </p:nvPr>
        </p:nvSpPr>
        <p:spPr>
          <a:xfrm>
            <a:off x="0" y="4448177"/>
            <a:ext cx="9144000" cy="2409825"/>
          </a:xfrm>
          <a:prstGeom prst="rect">
            <a:avLst/>
          </a:prstGeom>
          <a:solidFill>
            <a:schemeClr val="accent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prstClr val="black"/>
              </a:solidFill>
              <a:cs typeface="Arial Narrow" pitchFamily="34" charset="0"/>
            </a:endParaRPr>
          </a:p>
        </p:txBody>
      </p:sp>
      <p:sp>
        <p:nvSpPr>
          <p:cNvPr id="15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-2199" y="4448175"/>
            <a:ext cx="9146198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3" name="Line 4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680333" y="0"/>
            <a:ext cx="0" cy="6861562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1135501" y="3904800"/>
            <a:ext cx="7453120" cy="538394"/>
          </a:xfrm>
        </p:spPr>
        <p:txBody>
          <a:bodyPr vert="horz" wrap="square" lIns="0" tIns="0" rIns="0" bIns="180000" rtlCol="0" anchor="b" anchorCtr="0">
            <a:spAutoFit/>
          </a:bodyPr>
          <a:lstStyle>
            <a:lvl1pPr marL="501174" indent="-501174" algn="l" defTabSz="332316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>
                <a:tab pos="742969" algn="l"/>
              </a:tabLst>
              <a:defRPr kumimoji="0" lang="en-US" sz="2492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501174" marR="0" lvl="0" indent="-501174" algn="l" defTabSz="332316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42969" algn="l"/>
              </a:tabLst>
              <a:defRPr/>
            </a:pPr>
            <a:r>
              <a:rPr lang="en-US" dirty="0" smtClean="0"/>
              <a:t>A.    Click to edit text</a:t>
            </a:r>
            <a:endParaRPr lang="en-US" dirty="0"/>
          </a:p>
        </p:txBody>
      </p:sp>
      <p:sp>
        <p:nvSpPr>
          <p:cNvPr id="22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8781324" y="164668"/>
            <a:ext cx="3980897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fld id="{7AA7B471-74A3-4F5F-8955-6C99E2375CAC}" type="slidenum">
              <a:rPr lang="en-US" sz="1050">
                <a:solidFill>
                  <a:prstClr val="white"/>
                </a:solidFill>
                <a:cs typeface="Arial" pitchFamily="34" charset="0"/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50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506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781324" y="1646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fld id="{7AA7B471-74A3-4F5F-8955-6C99E2375CAC}" type="slidenum">
              <a:rPr lang="en-US" sz="135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50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227251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2"/>
            <a:ext cx="9144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prstClr val="black"/>
              </a:solidFill>
              <a:cs typeface="Arial Narrow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781324" y="164668"/>
            <a:ext cx="3980897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fld id="{7AA7B471-74A3-4F5F-8955-6C99E2375CAC}" type="slidenum">
              <a:rPr lang="en-US" sz="135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350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156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72008"/>
            <a:ext cx="6696744" cy="692696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E9E804-6498-4752-9F70-11D504DE3B99}" type="datetimeFigureOut">
              <a:rPr lang="ru-RU" smtClean="0"/>
              <a:pPr/>
              <a:t>26.04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058C2A-3698-4C94-9BD4-689909092BA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!!!Do not delete this text object!!!!_2"/>
          <p:cNvSpPr/>
          <p:nvPr/>
        </p:nvSpPr>
        <p:spPr>
          <a:xfrm>
            <a:off x="-40897" y="-83405"/>
            <a:ext cx="29908" cy="32400"/>
          </a:xfrm>
          <a:prstGeom prst="ellipse">
            <a:avLst/>
          </a:prstGeom>
          <a:solidFill>
            <a:srgbClr val="FF000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61" tIns="0" rIns="66461" bIns="0" rtlCol="0" anchor="ctr"/>
          <a:lstStyle/>
          <a:p>
            <a:pPr algn="ctr" fontAlgn="base">
              <a:lnSpc>
                <a:spcPct val="93000"/>
              </a:lnSpc>
              <a:spcBef>
                <a:spcPts val="277"/>
              </a:spcBef>
              <a:spcAft>
                <a:spcPct val="0"/>
              </a:spcAft>
            </a:pPr>
            <a:r>
              <a:rPr lang="de-DE" sz="185" b="1" dirty="0">
                <a:solidFill>
                  <a:prstClr val="white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2" name="!!!Do not delete this text object!!!!"/>
          <p:cNvSpPr txBox="1"/>
          <p:nvPr>
            <p:custDataLst>
              <p:tags r:id="rId10"/>
            </p:custDataLst>
          </p:nvPr>
        </p:nvSpPr>
        <p:spPr>
          <a:xfrm>
            <a:off x="0" y="-90288"/>
            <a:ext cx="916918" cy="42640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Clr>
                <a:prstClr val="black"/>
              </a:buClr>
              <a:buSzPct val="100000"/>
            </a:pPr>
            <a:r>
              <a:rPr lang="en-GB" sz="277" b="0" noProof="1" smtClean="0">
                <a:solidFill>
                  <a:prstClr val="white"/>
                </a:solidFill>
                <a:latin typeface="Arial Narrow"/>
                <a:cs typeface="Arial" pitchFamily="34" charset="0"/>
              </a:rPr>
              <a:t>"A4rb_Premium" – 2012-02_v02 – do not delete this text object! Speech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677008" y="1996701"/>
            <a:ext cx="7879373" cy="132805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 – Level 0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  <a:endParaRPr lang="en-US" dirty="0"/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677008" y="857475"/>
            <a:ext cx="7879373" cy="7727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4" name="Drawing grid" hidden="1"/>
          <p:cNvGrpSpPr/>
          <p:nvPr>
            <p:custDataLst>
              <p:tags r:id="rId13"/>
            </p:custDataLst>
          </p:nvPr>
        </p:nvGrpSpPr>
        <p:grpSpPr>
          <a:xfrm>
            <a:off x="0" y="0"/>
            <a:ext cx="9144000" cy="6858000"/>
            <a:chOff x="0" y="0"/>
            <a:chExt cx="9906000" cy="6858000"/>
          </a:xfrm>
        </p:grpSpPr>
        <p:cxnSp>
          <p:nvCxnSpPr>
            <p:cNvPr id="27" name="!!!Do not delete!!!"/>
            <p:cNvCxnSpPr/>
            <p:nvPr/>
          </p:nvCxnSpPr>
          <p:spPr>
            <a:xfrm>
              <a:off x="738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/>
            <p:cNvCxnSpPr/>
            <p:nvPr/>
          </p:nvCxnSpPr>
          <p:spPr>
            <a:xfrm>
              <a:off x="1347787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/>
            <p:cNvCxnSpPr/>
            <p:nvPr/>
          </p:nvCxnSpPr>
          <p:spPr>
            <a:xfrm>
              <a:off x="774096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/>
            <p:cNvCxnSpPr/>
            <p:nvPr/>
          </p:nvCxnSpPr>
          <p:spPr>
            <a:xfrm>
              <a:off x="812831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/>
            <p:cNvCxnSpPr/>
            <p:nvPr/>
          </p:nvCxnSpPr>
          <p:spPr>
            <a:xfrm>
              <a:off x="0" y="221454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!!!Do not delete!!!"/>
            <p:cNvCxnSpPr/>
            <p:nvPr/>
          </p:nvCxnSpPr>
          <p:spPr>
            <a:xfrm>
              <a:off x="0" y="496092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!!!Do not delete!!!"/>
            <p:cNvCxnSpPr/>
            <p:nvPr/>
          </p:nvCxnSpPr>
          <p:spPr>
            <a:xfrm>
              <a:off x="0" y="856800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!!!Do not delete!!!"/>
            <p:cNvCxnSpPr/>
            <p:nvPr/>
          </p:nvCxnSpPr>
          <p:spPr>
            <a:xfrm>
              <a:off x="0" y="7415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!!!Do not delete!!!"/>
            <p:cNvCxnSpPr/>
            <p:nvPr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!!!Do not delete!!!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!!!Do not delete!!!"/>
            <p:cNvCxnSpPr/>
            <p:nvPr/>
          </p:nvCxnSpPr>
          <p:spPr>
            <a:xfrm>
              <a:off x="0" y="1995488"/>
              <a:ext cx="9271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!!!Do not delete!!!"/>
            <p:cNvCxnSpPr/>
            <p:nvPr/>
          </p:nvCxnSpPr>
          <p:spPr>
            <a:xfrm>
              <a:off x="0" y="3032125"/>
              <a:ext cx="7366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!!!Do not delete!!!"/>
            <p:cNvCxnSpPr/>
            <p:nvPr/>
          </p:nvCxnSpPr>
          <p:spPr>
            <a:xfrm>
              <a:off x="0" y="17639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Formatted_text" hidden="1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81406" y="2621662"/>
            <a:ext cx="1827692" cy="95949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100000"/>
            </a:pPr>
            <a:r>
              <a:rPr lang="de-DE" sz="1385" b="1" dirty="0">
                <a:solidFill>
                  <a:prstClr val="black"/>
                </a:solidFill>
                <a:cs typeface="Arial" pitchFamily="34" charset="0"/>
              </a:rPr>
              <a:t>15 Point Text: Level 0</a:t>
            </a:r>
            <a:endParaRPr lang="de-DE" sz="1385" dirty="0">
              <a:solidFill>
                <a:prstClr val="black"/>
              </a:solidFill>
              <a:cs typeface="Arial" pitchFamily="34" charset="0"/>
            </a:endParaRPr>
          </a:p>
          <a:p>
            <a:pPr marL="151916" lvl="1" indent="-151916" fontAlgn="base">
              <a:lnSpc>
                <a:spcPct val="93000"/>
              </a:lnSpc>
              <a:spcBef>
                <a:spcPts val="739"/>
              </a:spcBef>
              <a:spcAft>
                <a:spcPct val="0"/>
              </a:spcAft>
              <a:buClr>
                <a:prstClr val="black"/>
              </a:buClr>
              <a:buSzPct val="100000"/>
              <a:buFont typeface="Arial Narrow"/>
              <a:buChar char="&gt;"/>
            </a:pPr>
            <a:r>
              <a:rPr lang="de-DE" sz="1385" dirty="0">
                <a:solidFill>
                  <a:prstClr val="black"/>
                </a:solidFill>
                <a:cs typeface="Arial" pitchFamily="34" charset="0"/>
              </a:rPr>
              <a:t>Level 1</a:t>
            </a:r>
          </a:p>
          <a:p>
            <a:pPr marL="318074" lvl="2" indent="-154289" fontAlgn="base">
              <a:lnSpc>
                <a:spcPct val="93000"/>
              </a:lnSpc>
              <a:spcBef>
                <a:spcPts val="369"/>
              </a:spcBef>
              <a:spcAft>
                <a:spcPct val="0"/>
              </a:spcAft>
              <a:buClr>
                <a:prstClr val="black"/>
              </a:buClr>
              <a:buSzPct val="100000"/>
              <a:buFont typeface="Arial Narrow"/>
              <a:buChar char="–"/>
            </a:pPr>
            <a:r>
              <a:rPr lang="de-DE" sz="1385" dirty="0">
                <a:solidFill>
                  <a:prstClr val="black"/>
                </a:solidFill>
                <a:cs typeface="Arial" pitchFamily="34" charset="0"/>
              </a:rPr>
              <a:t>Level 2</a:t>
            </a:r>
          </a:p>
          <a:p>
            <a:pPr marL="460495" lvl="3" indent="-132926" fontAlgn="base">
              <a:lnSpc>
                <a:spcPct val="93000"/>
              </a:lnSpc>
              <a:spcBef>
                <a:spcPts val="185"/>
              </a:spcBef>
              <a:spcAft>
                <a:spcPct val="0"/>
              </a:spcAft>
              <a:buClr>
                <a:prstClr val="black"/>
              </a:buClr>
              <a:buSzPct val="100000"/>
              <a:buFont typeface="Arial Narrow"/>
              <a:buChar char="-"/>
            </a:pPr>
            <a:r>
              <a:rPr lang="de-DE" sz="1385" dirty="0">
                <a:solidFill>
                  <a:prstClr val="black"/>
                </a:solidFill>
                <a:cs typeface="Arial" pitchFamily="34" charset="0"/>
              </a:rPr>
              <a:t>Level 3</a:t>
            </a:r>
          </a:p>
        </p:txBody>
      </p:sp>
      <p:sp>
        <p:nvSpPr>
          <p:cNvPr id="46" name="Source" hidden="1"/>
          <p:cNvSpPr txBox="1"/>
          <p:nvPr>
            <p:custDataLst>
              <p:tags r:id="rId15"/>
            </p:custDataLst>
          </p:nvPr>
        </p:nvSpPr>
        <p:spPr>
          <a:xfrm>
            <a:off x="681406" y="6720061"/>
            <a:ext cx="476092" cy="11887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342908" indent="-342908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100000"/>
            </a:pPr>
            <a:r>
              <a:rPr lang="de-DE" sz="831" dirty="0">
                <a:solidFill>
                  <a:prstClr val="black"/>
                </a:solidFill>
                <a:cs typeface="Arial" pitchFamily="34" charset="0"/>
              </a:rPr>
              <a:t>Source:	</a:t>
            </a:r>
            <a:r>
              <a:rPr lang="de-DE" sz="831" dirty="0" err="1">
                <a:solidFill>
                  <a:prstClr val="black"/>
                </a:solidFill>
                <a:cs typeface="Arial" pitchFamily="34" charset="0"/>
              </a:rPr>
              <a:t>xxx</a:t>
            </a:r>
            <a:endParaRPr lang="de-DE" sz="83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7" name="Notes" hidden="1"/>
          <p:cNvSpPr txBox="1"/>
          <p:nvPr>
            <p:custDataLst>
              <p:tags r:id="rId16"/>
            </p:custDataLst>
          </p:nvPr>
        </p:nvSpPr>
        <p:spPr>
          <a:xfrm>
            <a:off x="681406" y="6428504"/>
            <a:ext cx="294953" cy="132087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149473" indent="-149473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100000"/>
            </a:pPr>
            <a:r>
              <a:rPr lang="de-DE" sz="923" dirty="0">
                <a:solidFill>
                  <a:prstClr val="black"/>
                </a:solidFill>
                <a:cs typeface="Arial" pitchFamily="34" charset="0"/>
              </a:rPr>
              <a:t>1)	</a:t>
            </a:r>
            <a:r>
              <a:rPr lang="de-DE" sz="923" dirty="0" err="1">
                <a:solidFill>
                  <a:prstClr val="black"/>
                </a:solidFill>
                <a:cs typeface="Arial" pitchFamily="34" charset="0"/>
              </a:rPr>
              <a:t>xxx</a:t>
            </a:r>
            <a:endParaRPr lang="de-DE" sz="923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5" name="Legend" hidden="1"/>
          <p:cNvGrpSpPr/>
          <p:nvPr>
            <p:custDataLst>
              <p:tags r:id="rId17"/>
            </p:custDataLst>
          </p:nvPr>
        </p:nvGrpSpPr>
        <p:grpSpPr>
          <a:xfrm>
            <a:off x="681405" y="6195220"/>
            <a:ext cx="602505" cy="146050"/>
            <a:chOff x="736600" y="6157119"/>
            <a:chExt cx="652713" cy="146050"/>
          </a:xfrm>
        </p:grpSpPr>
        <p:sp>
          <p:nvSpPr>
            <p:cNvPr id="49" name="LegendIcon"/>
            <p:cNvSpPr/>
            <p:nvPr/>
          </p:nvSpPr>
          <p:spPr>
            <a:xfrm>
              <a:off x="736600" y="6157119"/>
              <a:ext cx="215900" cy="146050"/>
            </a:xfrm>
            <a:prstGeom prst="rect">
              <a:avLst/>
            </a:prstGeom>
            <a:noFill/>
            <a:ln w="9525" cap="flat" cmpd="sng" algn="ctr">
              <a:solidFill>
                <a:srgbClr val="003F56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844083">
                <a:lnSpc>
                  <a:spcPct val="93000"/>
                </a:lnSpc>
                <a:defRPr/>
              </a:pPr>
              <a:endParaRPr lang="de-DE" sz="1200" kern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5050" y="6160134"/>
              <a:ext cx="354263" cy="132087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defTabSz="844083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lang="de-DE" sz="923" kern="0" dirty="0">
                  <a:solidFill>
                    <a:sysClr val="windowText" lastClr="000000"/>
                  </a:solidFill>
                  <a:cs typeface="Arial" pitchFamily="34" charset="0"/>
                </a:rPr>
                <a:t>Legend</a:t>
              </a:r>
            </a:p>
          </p:txBody>
        </p:sp>
      </p:grpSp>
      <p:sp>
        <p:nvSpPr>
          <p:cNvPr id="51" name="Subtitle" hidden="1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681406" y="2005020"/>
            <a:ext cx="7876816" cy="27751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100000"/>
            </a:pPr>
            <a:r>
              <a:rPr lang="de-DE" sz="1939" dirty="0" err="1">
                <a:solidFill>
                  <a:prstClr val="black"/>
                </a:solidFill>
                <a:cs typeface="Arial" pitchFamily="34" charset="0"/>
              </a:rPr>
              <a:t>Subtitle</a:t>
            </a:r>
            <a:endParaRPr lang="de-DE" sz="1939" dirty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1300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dt="0"/>
  <p:txStyles>
    <p:titleStyle>
      <a:lvl1pPr algn="l" defTabSz="844083" rtl="0" eaLnBrk="1" latinLnBrk="0" hangingPunct="1">
        <a:lnSpc>
          <a:spcPct val="93000"/>
        </a:lnSpc>
        <a:spcBef>
          <a:spcPct val="0"/>
        </a:spcBef>
        <a:buNone/>
        <a:defRPr lang="en-US" sz="2492" b="0" kern="120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lang="en-US" sz="1939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12682" indent="-212682" algn="l" defTabSz="844083" rtl="0" eaLnBrk="1" latinLnBrk="0" hangingPunct="1">
        <a:lnSpc>
          <a:spcPct val="93000"/>
        </a:lnSpc>
        <a:spcBef>
          <a:spcPts val="1108"/>
        </a:spcBef>
        <a:buFont typeface="Arial Narrow" pitchFamily="34" charset="0"/>
        <a:buChar char="&gt;"/>
        <a:defRPr lang="en-US" sz="1939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45304" indent="-216005" algn="l" defTabSz="844083" rtl="0" eaLnBrk="1" latinLnBrk="0" hangingPunct="1">
        <a:lnSpc>
          <a:spcPct val="93000"/>
        </a:lnSpc>
        <a:spcBef>
          <a:spcPts val="369"/>
        </a:spcBef>
        <a:buFont typeface="Arial Narrow" pitchFamily="34" charset="0"/>
        <a:buChar char="–"/>
        <a:defRPr lang="en-US" sz="1939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44693" indent="-186097" algn="l" defTabSz="844083" rtl="0" eaLnBrk="1" latinLnBrk="0" hangingPunct="1">
        <a:lnSpc>
          <a:spcPct val="93000"/>
        </a:lnSpc>
        <a:spcBef>
          <a:spcPts val="185"/>
        </a:spcBef>
        <a:buFont typeface="Arial Narrow" pitchFamily="34" charset="0"/>
        <a:buChar char="-"/>
        <a:defRPr lang="en-US" sz="1939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44693" indent="0" algn="l" defTabSz="844083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sz="1569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321228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2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681390" y="-15942"/>
            <a:ext cx="9836789" cy="3233371"/>
            <a:chOff x="-923717" y="0"/>
            <a:chExt cx="13115718" cy="4311161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 flipH="1">
              <a:off x="-923717" y="0"/>
              <a:ext cx="13111222" cy="4311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4407" tIns="42203" rIns="84407" bIns="42203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 flipH="1">
              <a:off x="470137" y="0"/>
              <a:ext cx="11721864" cy="4089071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14" h="2191">
                  <a:moveTo>
                    <a:pt x="0" y="0"/>
                  </a:moveTo>
                  <a:lnTo>
                    <a:pt x="0" y="2191"/>
                  </a:lnTo>
                  <a:lnTo>
                    <a:pt x="52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7" tIns="42203" rIns="84407" bIns="42203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 flipH="1">
              <a:off x="4988922" y="0"/>
              <a:ext cx="6820893" cy="1950287"/>
            </a:xfrm>
            <a:custGeom>
              <a:avLst/>
              <a:gdLst>
                <a:gd name="T0" fmla="*/ 953 w 3034"/>
                <a:gd name="T1" fmla="*/ 0 h 1045"/>
                <a:gd name="T2" fmla="*/ 0 w 3034"/>
                <a:gd name="T3" fmla="*/ 1045 h 1045"/>
                <a:gd name="T4" fmla="*/ 3034 w 3034"/>
                <a:gd name="T5" fmla="*/ 0 h 1045"/>
                <a:gd name="T6" fmla="*/ 953 w 3034"/>
                <a:gd name="T7" fmla="*/ 0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34" h="1045">
                  <a:moveTo>
                    <a:pt x="953" y="0"/>
                  </a:moveTo>
                  <a:lnTo>
                    <a:pt x="0" y="1045"/>
                  </a:lnTo>
                  <a:lnTo>
                    <a:pt x="3034" y="0"/>
                  </a:lnTo>
                  <a:lnTo>
                    <a:pt x="953" y="0"/>
                  </a:lnTo>
                  <a:close/>
                </a:path>
              </a:pathLst>
            </a:custGeom>
            <a:solidFill>
              <a:srgbClr val="B511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7" tIns="42203" rIns="84407" bIns="42203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 flipH="1">
              <a:off x="2286644" y="0"/>
              <a:ext cx="9905357" cy="2680012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6" h="1436">
                  <a:moveTo>
                    <a:pt x="0" y="0"/>
                  </a:moveTo>
                  <a:lnTo>
                    <a:pt x="0" y="1436"/>
                  </a:lnTo>
                  <a:lnTo>
                    <a:pt x="4110" y="405"/>
                  </a:lnTo>
                  <a:lnTo>
                    <a:pt x="44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7" tIns="42203" rIns="84407" bIns="42203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 flipH="1">
              <a:off x="3084738" y="0"/>
              <a:ext cx="9107263" cy="2543772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51" h="1363">
                  <a:moveTo>
                    <a:pt x="0" y="0"/>
                  </a:moveTo>
                  <a:lnTo>
                    <a:pt x="0" y="1363"/>
                  </a:lnTo>
                  <a:lnTo>
                    <a:pt x="405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7" tIns="42203" rIns="84407" bIns="42203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200" b="1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115616" y="3924054"/>
            <a:ext cx="7081476" cy="700192"/>
          </a:xfrm>
        </p:spPr>
        <p:txBody>
          <a:bodyPr/>
          <a:lstStyle/>
          <a:p>
            <a:r>
              <a:rPr lang="ru-RU" dirty="0">
                <a:latin typeface="Calibri" panose="020F0502020204030204" pitchFamily="34" charset="0"/>
              </a:rPr>
              <a:t>ОТЧЁТ</a:t>
            </a: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2111285" y="1422686"/>
            <a:ext cx="4601643" cy="80159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ts val="0"/>
              </a:spcBef>
              <a:buNone/>
              <a:defRPr kumimoji="0" lang="en-US" sz="5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endParaRPr lang="ru-RU" sz="4984">
              <a:solidFill>
                <a:srgbClr val="2C4155">
                  <a:lumMod val="50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Подзаголовок 2"/>
          <p:cNvSpPr txBox="1">
            <a:spLocks/>
          </p:cNvSpPr>
          <p:nvPr/>
        </p:nvSpPr>
        <p:spPr>
          <a:xfrm>
            <a:off x="1115616" y="2468950"/>
            <a:ext cx="6066249" cy="678515"/>
          </a:xfrm>
          <a:prstGeom prst="rect">
            <a:avLst/>
          </a:prstGeom>
        </p:spPr>
        <p:txBody>
          <a:bodyPr vert="horz" lIns="84407" tIns="42203" rIns="84407" bIns="42203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spcAft>
                <a:spcPct val="0"/>
              </a:spcAft>
            </a:pPr>
            <a:endParaRPr lang="ru-RU" sz="1847" b="1" dirty="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>
          <a:xfrm>
            <a:off x="369146" y="3128249"/>
            <a:ext cx="6511975" cy="1935503"/>
          </a:xfrm>
        </p:spPr>
        <p:txBody>
          <a:bodyPr/>
          <a:lstStyle/>
          <a:p>
            <a:pPr algn="ctr"/>
            <a:r>
              <a:rPr lang="ru-RU" sz="40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lang="ru-RU" sz="4000" kern="1200" dirty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Times New Roman" panose="02020603050405020304" pitchFamily="18" charset="0"/>
              </a:rPr>
              <a:t>Проблематика развития малого бизнеса на базе закупочной </a:t>
            </a:r>
            <a:r>
              <a:rPr lang="ru-RU" sz="4000" kern="1200" dirty="0" smtClean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Times New Roman" panose="02020603050405020304" pitchFamily="18" charset="0"/>
              </a:rPr>
              <a:t>деятельности</a:t>
            </a:r>
            <a:r>
              <a:rPr lang="ru-RU" sz="40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»</a:t>
            </a:r>
            <a:endParaRPr lang="ru-RU" sz="4000" dirty="0">
              <a:solidFill>
                <a:schemeClr val="tx2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357246" y="5939898"/>
            <a:ext cx="7920174" cy="918102"/>
          </a:xfrm>
        </p:spPr>
        <p:txBody>
          <a:bodyPr/>
          <a:lstStyle/>
          <a:p>
            <a:r>
              <a:rPr lang="ru-RU" dirty="0" smtClean="0">
                <a:solidFill>
                  <a:srgbClr val="C00000"/>
                </a:solidFill>
                <a:latin typeface="Calibri" panose="020F0502020204030204" pitchFamily="34" charset="0"/>
              </a:rPr>
              <a:t>     </a:t>
            </a:r>
          </a:p>
          <a:p>
            <a:endParaRPr lang="ru-RU" dirty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endParaRPr lang="ru-RU" dirty="0" smtClean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endParaRPr lang="ru-RU" dirty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endParaRPr lang="ru-RU" dirty="0" smtClean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r>
              <a:rPr lang="ru-RU" sz="2400" dirty="0" smtClean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ПИКЕР</a:t>
            </a:r>
            <a:r>
              <a:rPr lang="ru-RU" sz="2400" dirty="0" smtClean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ru-RU" sz="2400" kern="1200" dirty="0">
                <a:solidFill>
                  <a:srgbClr val="1F497D">
                    <a:lumMod val="75000"/>
                  </a:srgb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Емельянов Антон Андреевич – Генеральный директор ОАО «ЕЭТП»</a:t>
            </a:r>
            <a:r>
              <a:rPr lang="ru-RU" sz="2400" dirty="0" smtClean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sz="24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24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ДАТА: </a:t>
            </a:r>
            <a:r>
              <a:rPr lang="ru-RU" sz="24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1.04.2016</a:t>
            </a:r>
            <a:endParaRPr lang="ru-RU" sz="2400" dirty="0">
              <a:solidFill>
                <a:schemeClr val="tx2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 </a:t>
            </a:r>
            <a:endParaRPr lang="ru-RU" sz="1800" dirty="0">
              <a:solidFill>
                <a:schemeClr val="tx2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>
          <a:xfrm>
            <a:off x="357246" y="2071455"/>
            <a:ext cx="2628647" cy="790574"/>
          </a:xfrm>
        </p:spPr>
        <p:txBody>
          <a:bodyPr/>
          <a:lstStyle/>
          <a:p>
            <a:r>
              <a:rPr lang="ru-RU" sz="4000" b="1">
                <a:solidFill>
                  <a:schemeClr val="accent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ЕКЦИЯ </a:t>
            </a:r>
            <a:r>
              <a:rPr lang="ru-RU" sz="4000" b="1" smtClean="0">
                <a:solidFill>
                  <a:schemeClr val="accent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ru-RU" sz="4000" b="1" dirty="0">
              <a:solidFill>
                <a:schemeClr val="accent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5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979713" y="2996952"/>
            <a:ext cx="525658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3200" b="1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Проблематика развития малого бизнеса на базе закупочной деятельности</a:t>
            </a:r>
            <a:endParaRPr lang="ru-RU" sz="3200" b="1" dirty="0">
              <a:solidFill>
                <a:schemeClr val="bg1"/>
              </a:solidFill>
              <a:latin typeface="+mj-lt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3972" y="1772816"/>
            <a:ext cx="4527706" cy="44584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ейчас или никогда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73676" y="1894900"/>
            <a:ext cx="4226316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8400"/>
              </a:spcBef>
            </a:pPr>
            <a:r>
              <a:rPr lang="ru-RU" sz="1600" dirty="0" smtClean="0">
                <a:cs typeface="Times New Roman" pitchFamily="18" charset="0"/>
              </a:rPr>
              <a:t>Закупки государства и госкомпаний составляют порядка </a:t>
            </a:r>
            <a:r>
              <a:rPr lang="ru-RU" sz="1600" b="1" dirty="0" smtClean="0">
                <a:solidFill>
                  <a:srgbClr val="328BB8"/>
                </a:solidFill>
                <a:cs typeface="Times New Roman" pitchFamily="18" charset="0"/>
              </a:rPr>
              <a:t>30 трлн.руб.</a:t>
            </a:r>
            <a:r>
              <a:rPr lang="ru-RU" sz="1600" dirty="0" smtClean="0">
                <a:cs typeface="Times New Roman" pitchFamily="18" charset="0"/>
              </a:rPr>
              <a:t> в год, </a:t>
            </a:r>
            <a:br>
              <a:rPr lang="ru-RU" sz="1600" dirty="0" smtClean="0">
                <a:cs typeface="Times New Roman" pitchFamily="18" charset="0"/>
              </a:rPr>
            </a:br>
            <a:r>
              <a:rPr lang="ru-RU" sz="1600" dirty="0" smtClean="0">
                <a:cs typeface="Times New Roman" pitchFamily="18" charset="0"/>
              </a:rPr>
              <a:t>из них </a:t>
            </a:r>
            <a:r>
              <a:rPr lang="ru-RU" sz="1600" b="1" dirty="0" smtClean="0">
                <a:solidFill>
                  <a:srgbClr val="328BB8"/>
                </a:solidFill>
                <a:cs typeface="Times New Roman" pitchFamily="18" charset="0"/>
              </a:rPr>
              <a:t>4,8 </a:t>
            </a:r>
            <a:r>
              <a:rPr lang="ru-RU" sz="1600" b="1" dirty="0">
                <a:solidFill>
                  <a:srgbClr val="328BB8"/>
                </a:solidFill>
                <a:cs typeface="Times New Roman" pitchFamily="18" charset="0"/>
              </a:rPr>
              <a:t>трлн.руб.</a:t>
            </a:r>
            <a:r>
              <a:rPr lang="ru-RU" sz="1600" dirty="0">
                <a:cs typeface="Times New Roman" pitchFamily="18" charset="0"/>
              </a:rPr>
              <a:t> – </a:t>
            </a:r>
            <a:r>
              <a:rPr lang="ru-RU" sz="1600" dirty="0" smtClean="0">
                <a:cs typeface="Times New Roman" pitchFamily="18" charset="0"/>
              </a:rPr>
              <a:t>закупки для субъектов малого предпринимательства.</a:t>
            </a:r>
          </a:p>
          <a:p>
            <a:pPr>
              <a:spcBef>
                <a:spcPts val="8400"/>
              </a:spcBef>
            </a:pPr>
            <a:r>
              <a:rPr lang="ru-RU" sz="1600" dirty="0" smtClean="0">
                <a:cs typeface="Times New Roman" pitchFamily="18" charset="0"/>
              </a:rPr>
              <a:t>Низкий курс национальной валюты, </a:t>
            </a:r>
            <a:br>
              <a:rPr lang="ru-RU" sz="1600" dirty="0" smtClean="0">
                <a:cs typeface="Times New Roman" pitchFamily="18" charset="0"/>
              </a:rPr>
            </a:br>
            <a:r>
              <a:rPr lang="ru-RU" sz="1600" dirty="0" smtClean="0">
                <a:cs typeface="Times New Roman" pitchFamily="18" charset="0"/>
              </a:rPr>
              <a:t>как возможность эффективного импортозамещения.</a:t>
            </a:r>
          </a:p>
          <a:p>
            <a:pPr>
              <a:spcBef>
                <a:spcPts val="8400"/>
              </a:spcBef>
            </a:pPr>
            <a:r>
              <a:rPr lang="ru-RU" sz="1600" dirty="0" smtClean="0">
                <a:cs typeface="Times New Roman" pitchFamily="18" charset="0"/>
              </a:rPr>
              <a:t>Механизм прозрачности закупок:  </a:t>
            </a:r>
            <a:r>
              <a:rPr lang="ru-RU" sz="1600" b="1" dirty="0" smtClean="0">
                <a:solidFill>
                  <a:srgbClr val="328BB8"/>
                </a:solidFill>
                <a:cs typeface="Times New Roman" pitchFamily="18" charset="0"/>
              </a:rPr>
              <a:t>до 55%</a:t>
            </a:r>
            <a:r>
              <a:rPr lang="ru-RU" sz="1600" dirty="0" smtClean="0">
                <a:cs typeface="Times New Roman" pitchFamily="18" charset="0"/>
              </a:rPr>
              <a:t> закупок проводятся в электронном виде </a:t>
            </a:r>
            <a:br>
              <a:rPr lang="ru-RU" sz="1600" dirty="0" smtClean="0">
                <a:cs typeface="Times New Roman" pitchFamily="18" charset="0"/>
              </a:rPr>
            </a:br>
            <a:r>
              <a:rPr lang="ru-RU" sz="1600" dirty="0" smtClean="0">
                <a:cs typeface="Times New Roman" pitchFamily="18" charset="0"/>
              </a:rPr>
              <a:t>и находятся в публичном доступе в ЕИС.</a:t>
            </a:r>
            <a:endParaRPr lang="ru-RU" sz="1600" dirty="0"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529839" y="1268760"/>
            <a:ext cx="44047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latin typeface="+mj-lt"/>
                <a:cs typeface="Times New Roman" pitchFamily="18" charset="0"/>
              </a:rPr>
              <a:t>Доля малого предпринимательства в ВВП</a:t>
            </a:r>
          </a:p>
        </p:txBody>
      </p:sp>
      <p:pic>
        <p:nvPicPr>
          <p:cNvPr id="1027" name="Picture 3" descr="C:\Users\Полина\Dropbox\ЕЭТП (не удалять)\Шаблон презентации ppt\267 серых иконок\1-7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047028"/>
            <a:ext cx="719138" cy="701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Полина\Dropbox\ЕЭТП (не удалять)\Шаблон презентации ppt\267 серых иконок\2-2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091" y="1052736"/>
            <a:ext cx="771525" cy="765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Полина\Dropbox\ЕЭТП (не удалять)\Шаблон презентации ppt\267 серых иконок\2-77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937" y="4919236"/>
            <a:ext cx="801687" cy="738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6728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йчас или никогд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0" y="5301208"/>
            <a:ext cx="9144000" cy="15567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3344" y="5733256"/>
            <a:ext cx="8639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 Для развития экономики в целом необходимо развитие субъектов малого  предпринимательства, в первую очередь – в сфере производства и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инноваций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72000" y="1954575"/>
            <a:ext cx="410445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cs typeface="Times New Roman" pitchFamily="18" charset="0"/>
              </a:rPr>
              <a:t>Структурная доля малого бизнеса </a:t>
            </a:r>
            <a:r>
              <a:rPr lang="ru-RU" sz="1600" dirty="0" smtClean="0">
                <a:cs typeface="Times New Roman" pitchFamily="18" charset="0"/>
              </a:rPr>
              <a:t/>
            </a:r>
            <a:br>
              <a:rPr lang="ru-RU" sz="1600" dirty="0" smtClean="0">
                <a:cs typeface="Times New Roman" pitchFamily="18" charset="0"/>
              </a:rPr>
            </a:br>
            <a:r>
              <a:rPr lang="ru-RU" sz="1600" dirty="0" smtClean="0">
                <a:cs typeface="Times New Roman" pitchFamily="18" charset="0"/>
              </a:rPr>
              <a:t>в </a:t>
            </a:r>
            <a:r>
              <a:rPr lang="ru-RU" sz="1600" dirty="0">
                <a:cs typeface="Times New Roman" pitchFamily="18" charset="0"/>
              </a:rPr>
              <a:t>России пока </a:t>
            </a:r>
            <a:r>
              <a:rPr lang="ru-RU" sz="1600" b="1" dirty="0">
                <a:solidFill>
                  <a:srgbClr val="328BB8"/>
                </a:solidFill>
                <a:cs typeface="Times New Roman" pitchFamily="18" charset="0"/>
              </a:rPr>
              <a:t>не достигла показателей развития </a:t>
            </a:r>
            <a:r>
              <a:rPr lang="ru-RU" sz="1600" dirty="0" smtClean="0">
                <a:cs typeface="Times New Roman" pitchFamily="18" charset="0"/>
              </a:rPr>
              <a:t>в </a:t>
            </a:r>
            <a:r>
              <a:rPr lang="ru-RU" sz="1600" dirty="0">
                <a:cs typeface="Times New Roman" pitchFamily="18" charset="0"/>
              </a:rPr>
              <a:t>странах-мировых экономических лидерах</a:t>
            </a:r>
          </a:p>
          <a:p>
            <a:pPr marL="171450" indent="-171450">
              <a:buFont typeface="Arial" pitchFamily="34" charset="0"/>
              <a:buChar char="•"/>
            </a:pPr>
            <a:endParaRPr lang="ru-RU" sz="1600" dirty="0">
              <a:cs typeface="Times New Roman" pitchFamily="18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>
                <a:cs typeface="Times New Roman" pitchFamily="18" charset="0"/>
              </a:rPr>
              <a:t>Наиболее перспективными являются предприятия, работающие в сфере </a:t>
            </a:r>
            <a:r>
              <a:rPr lang="ru-RU" sz="1600" b="1" dirty="0">
                <a:solidFill>
                  <a:srgbClr val="328BB8"/>
                </a:solidFill>
                <a:cs typeface="Times New Roman" pitchFamily="18" charset="0"/>
              </a:rPr>
              <a:t>производства  с высоким уровнем добавленной стоимости</a:t>
            </a:r>
          </a:p>
          <a:p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05193" y="4437112"/>
            <a:ext cx="1192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rPr>
              <a:t>Торговля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333464" y="4293096"/>
            <a:ext cx="718256" cy="711718"/>
          </a:xfrm>
          <a:prstGeom prst="rect">
            <a:avLst/>
          </a:prstGeom>
          <a:solidFill>
            <a:srgbClr val="EC4A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1333464" y="3148858"/>
            <a:ext cx="718256" cy="1144237"/>
          </a:xfrm>
          <a:prstGeom prst="rect">
            <a:avLst/>
          </a:prstGeom>
          <a:solidFill>
            <a:srgbClr val="F5E7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1333464" y="1268760"/>
            <a:ext cx="718256" cy="1880098"/>
          </a:xfrm>
          <a:prstGeom prst="rect">
            <a:avLst/>
          </a:prstGeom>
          <a:solidFill>
            <a:srgbClr val="22A6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2205193" y="3563724"/>
            <a:ext cx="1192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rPr>
              <a:t>Услуги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205193" y="2123564"/>
            <a:ext cx="1862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rPr>
              <a:t>Производство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 rot="16200000">
            <a:off x="-1013275" y="2969251"/>
            <a:ext cx="37703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rPr>
              <a:t>Добавленная стоимость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30" name="Прямая со стрелкой 29"/>
          <p:cNvCxnSpPr/>
          <p:nvPr/>
        </p:nvCxnSpPr>
        <p:spPr>
          <a:xfrm flipV="1">
            <a:off x="1117440" y="1268761"/>
            <a:ext cx="0" cy="373605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3142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72008"/>
            <a:ext cx="6840760" cy="692696"/>
          </a:xfrm>
        </p:spPr>
        <p:txBody>
          <a:bodyPr>
            <a:noAutofit/>
          </a:bodyPr>
          <a:lstStyle/>
          <a:p>
            <a:r>
              <a:rPr lang="ru-RU" dirty="0" smtClean="0"/>
              <a:t>Исследования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6015808" y="3121064"/>
            <a:ext cx="28766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smtClean="0">
                <a:cs typeface="Times New Roman" pitchFamily="18" charset="0"/>
              </a:rPr>
              <a:t>Срок проведения исследования</a:t>
            </a:r>
            <a:r>
              <a:rPr lang="ru-RU" sz="1600" dirty="0" smtClean="0">
                <a:cs typeface="Times New Roman" pitchFamily="18" charset="0"/>
              </a:rPr>
              <a:t>:</a:t>
            </a:r>
            <a:r>
              <a:rPr lang="ru-RU" sz="1600" i="1" dirty="0">
                <a:cs typeface="Times New Roman" pitchFamily="18" charset="0"/>
              </a:rPr>
              <a:t> </a:t>
            </a:r>
            <a:r>
              <a:rPr lang="ru-RU" sz="1600" i="1" dirty="0" smtClean="0">
                <a:cs typeface="Times New Roman" pitchFamily="18" charset="0"/>
              </a:rPr>
              <a:t/>
            </a:r>
            <a:br>
              <a:rPr lang="ru-RU" sz="1600" i="1" dirty="0" smtClean="0">
                <a:cs typeface="Times New Roman" pitchFamily="18" charset="0"/>
              </a:rPr>
            </a:br>
            <a:r>
              <a:rPr lang="ru-RU" sz="1600" b="1" dirty="0" smtClean="0">
                <a:solidFill>
                  <a:srgbClr val="328BB8"/>
                </a:solidFill>
                <a:cs typeface="Times New Roman" pitchFamily="18" charset="0"/>
              </a:rPr>
              <a:t>сентябрь 2015 года – февраль 2016 год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135488" y="3121064"/>
            <a:ext cx="289693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cs typeface="Times New Roman" pitchFamily="18" charset="0"/>
              </a:rPr>
              <a:t>Метод исследования</a:t>
            </a:r>
            <a:r>
              <a:rPr lang="ru-RU" sz="1600" dirty="0">
                <a:cs typeface="Times New Roman" pitchFamily="18" charset="0"/>
              </a:rPr>
              <a:t>:</a:t>
            </a:r>
            <a:r>
              <a:rPr lang="ru-RU" sz="1600" i="1" dirty="0"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419DCB"/>
                </a:solidFill>
                <a:cs typeface="Times New Roman" pitchFamily="18" charset="0"/>
              </a:rPr>
              <a:t>анкетирование</a:t>
            </a:r>
            <a:r>
              <a:rPr lang="ru-RU" sz="1600" dirty="0" smtClean="0">
                <a:cs typeface="Times New Roman" pitchFamily="18" charset="0"/>
              </a:rPr>
              <a:t> </a:t>
            </a:r>
            <a:r>
              <a:rPr lang="ru-RU" sz="1600" dirty="0">
                <a:cs typeface="Times New Roman" pitchFamily="18" charset="0"/>
              </a:rPr>
              <a:t>в электронной форме с возможностью выбора различных вариантов </a:t>
            </a:r>
            <a:r>
              <a:rPr lang="ru-RU" sz="1600" dirty="0" smtClean="0">
                <a:cs typeface="Times New Roman" pitchFamily="18" charset="0"/>
              </a:rPr>
              <a:t>ответа и </a:t>
            </a:r>
            <a:r>
              <a:rPr lang="ru-RU" sz="1600" b="1" dirty="0" smtClean="0">
                <a:solidFill>
                  <a:srgbClr val="419DCB"/>
                </a:solidFill>
                <a:cs typeface="Times New Roman" pitchFamily="18" charset="0"/>
              </a:rPr>
              <a:t>телефонный опрос</a:t>
            </a:r>
            <a:endParaRPr lang="ru-RU" sz="1600" b="1" dirty="0">
              <a:solidFill>
                <a:srgbClr val="419DCB"/>
              </a:solidFill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58816" y="3121064"/>
            <a:ext cx="286370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cs typeface="Times New Roman" pitchFamily="18" charset="0"/>
              </a:rPr>
              <a:t>Периметр исследования</a:t>
            </a:r>
            <a:r>
              <a:rPr lang="ru-RU" sz="1600" dirty="0">
                <a:cs typeface="Times New Roman" pitchFamily="18" charset="0"/>
              </a:rPr>
              <a:t>:</a:t>
            </a:r>
            <a:r>
              <a:rPr lang="ru-RU" sz="1600" i="1" dirty="0">
                <a:cs typeface="Times New Roman" pitchFamily="18" charset="0"/>
              </a:rPr>
              <a:t> </a:t>
            </a:r>
            <a:r>
              <a:rPr lang="ru-RU" sz="1600" b="1" dirty="0">
                <a:solidFill>
                  <a:srgbClr val="328BB8"/>
                </a:solidFill>
                <a:cs typeface="Times New Roman" pitchFamily="18" charset="0"/>
              </a:rPr>
              <a:t>малые и средние предприятия</a:t>
            </a:r>
            <a:r>
              <a:rPr lang="ru-RU" sz="1600" dirty="0">
                <a:cs typeface="Times New Roman" pitchFamily="18" charset="0"/>
              </a:rPr>
              <a:t>, участвующие </a:t>
            </a:r>
            <a:r>
              <a:rPr lang="ru-RU" sz="1600" dirty="0" smtClean="0">
                <a:cs typeface="Times New Roman" pitchFamily="18" charset="0"/>
              </a:rPr>
              <a:t/>
            </a:r>
            <a:br>
              <a:rPr lang="ru-RU" sz="1600" dirty="0" smtClean="0">
                <a:cs typeface="Times New Roman" pitchFamily="18" charset="0"/>
              </a:rPr>
            </a:br>
            <a:r>
              <a:rPr lang="ru-RU" sz="1600" dirty="0" smtClean="0">
                <a:cs typeface="Times New Roman" pitchFamily="18" charset="0"/>
              </a:rPr>
              <a:t>в электронных закупочных процедурах</a:t>
            </a:r>
            <a:endParaRPr lang="ru-RU" sz="1600" dirty="0">
              <a:cs typeface="Times New Roman" pitchFamily="18" charset="0"/>
            </a:endParaRPr>
          </a:p>
        </p:txBody>
      </p:sp>
      <p:pic>
        <p:nvPicPr>
          <p:cNvPr id="3074" name="Picture 2" descr="C:\Users\p.vashekba\Dropbox\ЕЭТП (не удалять)\Шаблон презентации ppt\267 серых иконок\2-0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9398" y="2149524"/>
            <a:ext cx="704850" cy="712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p.vashekba\Dropbox\ЕЭТП (не удалять)\Шаблон презентации ppt\267 серых иконок\2-3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2132856"/>
            <a:ext cx="728662" cy="746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p.vashekba\Dropbox\ЕЭТП (не удалять)\Шаблон презентации ppt\267 серых иконок\2-77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380" y="2136824"/>
            <a:ext cx="801688" cy="738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0" y="5085184"/>
            <a:ext cx="9144000" cy="17728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26781" y="5506832"/>
            <a:ext cx="70056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В исследовании приняли участие более </a:t>
            </a:r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</a:br>
            <a:r>
              <a:rPr lang="ru-RU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10,5 тысяч </a:t>
            </a:r>
            <a:r>
              <a:rPr lang="ru-RU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малых и средних предприятий</a:t>
            </a:r>
            <a:endParaRPr lang="ru-RU" sz="24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65300" y="1075589"/>
            <a:ext cx="86373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 smtClean="0">
                <a:cs typeface="Times New Roman" pitchFamily="18" charset="0"/>
              </a:rPr>
              <a:t>Были проведены исследования проблем допуска субъектов малого и среднего предпринимательства к закупочной деятельности</a:t>
            </a:r>
          </a:p>
        </p:txBody>
      </p:sp>
      <p:pic>
        <p:nvPicPr>
          <p:cNvPr id="2050" name="Picture 2" descr="C:\Users\Полина\Dropbox\ЕЭТП (не удалять)\Шаблон презентации ppt\267 серых иконок\1-04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380" y="5445224"/>
            <a:ext cx="923925" cy="92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712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9" t="10924" r="5874" b="3065"/>
          <a:stretch/>
        </p:blipFill>
        <p:spPr bwMode="auto">
          <a:xfrm>
            <a:off x="251520" y="933450"/>
            <a:ext cx="4354474" cy="429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Результаты исследования. Структурная характеристика субъектов малого предпринимательства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012160" y="2204864"/>
            <a:ext cx="2952328" cy="2664296"/>
          </a:xfrm>
          <a:prstGeom prst="rect">
            <a:avLst/>
          </a:prstGeom>
          <a:noFill/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Большинство российских малых предприятий </a:t>
            </a:r>
            <a:r>
              <a:rPr lang="ru-RU" sz="1600" dirty="0" smtClean="0">
                <a:solidFill>
                  <a:schemeClr val="tx1"/>
                </a:solidFill>
                <a:cs typeface="Times New Roman" pitchFamily="18" charset="0"/>
              </a:rPr>
              <a:t/>
            </a:r>
            <a:br>
              <a:rPr lang="ru-RU" sz="1600" dirty="0" smtClean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sz="1600" b="1" dirty="0" smtClean="0">
                <a:solidFill>
                  <a:srgbClr val="328BB8"/>
                </a:solidFill>
                <a:cs typeface="Times New Roman" pitchFamily="18" charset="0"/>
              </a:rPr>
              <a:t>не </a:t>
            </a:r>
            <a:r>
              <a:rPr lang="ru-RU" sz="1600" b="1" dirty="0">
                <a:solidFill>
                  <a:srgbClr val="328BB8"/>
                </a:solidFill>
                <a:cs typeface="Times New Roman" pitchFamily="18" charset="0"/>
              </a:rPr>
              <a:t>являются </a:t>
            </a:r>
            <a:r>
              <a:rPr lang="ru-RU" sz="1600" b="1" dirty="0" smtClean="0">
                <a:solidFill>
                  <a:srgbClr val="328BB8"/>
                </a:solidFill>
                <a:cs typeface="Times New Roman" pitchFamily="18" charset="0"/>
              </a:rPr>
              <a:t>производителями</a:t>
            </a:r>
            <a:endParaRPr lang="ru-RU" sz="1600" b="1" dirty="0">
              <a:solidFill>
                <a:srgbClr val="328BB8"/>
              </a:solidFill>
              <a:cs typeface="Times New Roman" pitchFamily="18" charset="0"/>
            </a:endParaRPr>
          </a:p>
          <a:p>
            <a:endParaRPr lang="ru-RU" sz="1600" dirty="0" smtClean="0">
              <a:solidFill>
                <a:schemeClr val="tx1"/>
              </a:solidFill>
              <a:cs typeface="Times New Roman" pitchFamily="18" charset="0"/>
            </a:endParaRPr>
          </a:p>
          <a:p>
            <a:endParaRPr lang="ru-RU" sz="1600" dirty="0">
              <a:solidFill>
                <a:schemeClr val="tx1"/>
              </a:solidFill>
              <a:cs typeface="Times New Roman" pitchFamily="18" charset="0"/>
            </a:endParaRPr>
          </a:p>
          <a:p>
            <a:endParaRPr lang="ru-RU" sz="1600" dirty="0" smtClean="0">
              <a:solidFill>
                <a:schemeClr val="tx1"/>
              </a:solidFill>
              <a:cs typeface="Times New Roman" pitchFamily="18" charset="0"/>
            </a:endParaRPr>
          </a:p>
          <a:p>
            <a:endParaRPr lang="ru-RU" sz="1600" dirty="0">
              <a:solidFill>
                <a:schemeClr val="tx1"/>
              </a:solidFill>
              <a:cs typeface="Times New Roman" pitchFamily="18" charset="0"/>
            </a:endParaRPr>
          </a:p>
          <a:p>
            <a:pPr>
              <a:buClr>
                <a:schemeClr val="tx1"/>
              </a:buClr>
            </a:pPr>
            <a:r>
              <a:rPr lang="ru-RU" sz="1600" b="1" dirty="0">
                <a:solidFill>
                  <a:srgbClr val="328BB8"/>
                </a:solidFill>
                <a:cs typeface="Times New Roman" pitchFamily="18" charset="0"/>
              </a:rPr>
              <a:t>Всего 5,9% </a:t>
            </a: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российских малых предприятий </a:t>
            </a:r>
            <a:r>
              <a:rPr lang="ru-RU" sz="1600" b="1" dirty="0">
                <a:solidFill>
                  <a:srgbClr val="328BB8"/>
                </a:solidFill>
                <a:cs typeface="Times New Roman" pitchFamily="18" charset="0"/>
              </a:rPr>
              <a:t>осуществляют полный цикл</a:t>
            </a: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cs typeface="Times New Roman" pitchFamily="18" charset="0"/>
              </a:rPr>
              <a:t>производства</a:t>
            </a:r>
            <a:endParaRPr lang="ru-RU" sz="1600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5301208"/>
            <a:ext cx="9144000" cy="15567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3344" y="5661248"/>
            <a:ext cx="84429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Развитие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экономики предполагает акцентирование мер поддержки на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предприятиях-производителях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и создании условий для формирования малым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 бизнесом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парка собственных производительных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мощностей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cs typeface="Times New Roman" pitchFamily="18" charset="0"/>
            </a:endParaRPr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4355976" y="3081325"/>
            <a:ext cx="1584176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4099" name="Picture 3" descr="C:\Users\p.vashekba\Dropbox\ЕЭТП (не удалять)\Шаблон презентации ppt\267 серых иконок\1-0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2801" y="1412776"/>
            <a:ext cx="923925" cy="92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p.vashekba\Dropbox\ЕЭТП (не удалять)\Шаблон презентации ppt\267 серых иконок\2-2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9000" y="3199954"/>
            <a:ext cx="771525" cy="765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2787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p.vashekba\Desktop\графики (1)-0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624" y="836712"/>
            <a:ext cx="7060760" cy="4673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Результаты исследования</a:t>
            </a:r>
            <a:br>
              <a:rPr lang="ru-RU" dirty="0" smtClean="0"/>
            </a:br>
            <a:r>
              <a:rPr lang="ru-RU" dirty="0" smtClean="0"/>
              <a:t>Проблемы участия малого бизнеса в закупках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0" y="5509926"/>
            <a:ext cx="9144000" cy="13480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1272" y="5661248"/>
            <a:ext cx="8641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Объективными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трудностями малого бизнеса при участии в закупках являются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нехватка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финансовых ресурсов и незнание законодательных преференций своего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  экономико-правового статуса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535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ые выводы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53343" y="1075590"/>
            <a:ext cx="86373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 smtClean="0">
                <a:cs typeface="Times New Roman" pitchFamily="18" charset="0"/>
              </a:rPr>
              <a:t>Исполнение законодательных требований к заказчикам в части закупок у субъектов малого и среднего предпринимательства (квотирование) требует комплексной поддержки потенциальных поставщиков из числа малого бизнеса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55168" y="3359894"/>
            <a:ext cx="287667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b="1" dirty="0">
                <a:solidFill>
                  <a:srgbClr val="328BB8"/>
                </a:solidFill>
                <a:cs typeface="Times New Roman" pitchFamily="18" charset="0"/>
              </a:rPr>
              <a:t>Доступность </a:t>
            </a:r>
            <a:r>
              <a:rPr lang="ru-RU" sz="1600" b="1" dirty="0" smtClean="0">
                <a:solidFill>
                  <a:srgbClr val="328BB8"/>
                </a:solidFill>
                <a:cs typeface="Times New Roman" pitchFamily="18" charset="0"/>
              </a:rPr>
              <a:t>кредитования </a:t>
            </a:r>
            <a:br>
              <a:rPr lang="ru-RU" sz="1600" b="1" dirty="0" smtClean="0">
                <a:solidFill>
                  <a:srgbClr val="328BB8"/>
                </a:solidFill>
                <a:cs typeface="Times New Roman" pitchFamily="18" charset="0"/>
              </a:rPr>
            </a:br>
            <a:r>
              <a:rPr lang="ru-RU" sz="1600" dirty="0" smtClean="0">
                <a:cs typeface="Times New Roman" pitchFamily="18" charset="0"/>
              </a:rPr>
              <a:t>и </a:t>
            </a:r>
            <a:r>
              <a:rPr lang="ru-RU" sz="1600" b="1" dirty="0" smtClean="0">
                <a:solidFill>
                  <a:srgbClr val="328BB8"/>
                </a:solidFill>
                <a:cs typeface="Times New Roman" pitchFamily="18" charset="0"/>
              </a:rPr>
              <a:t>минимизация финансовой нагрузки </a:t>
            </a:r>
            <a:r>
              <a:rPr lang="ru-RU" sz="1600" dirty="0" smtClean="0">
                <a:cs typeface="Times New Roman" pitchFamily="18" charset="0"/>
              </a:rPr>
              <a:t>при исполнении закупок</a:t>
            </a:r>
            <a:endParaRPr lang="ru-RU" sz="1600" dirty="0"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31840" y="3359894"/>
            <a:ext cx="28803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dirty="0" smtClean="0">
                <a:cs typeface="Times New Roman" pitchFamily="18" charset="0"/>
              </a:rPr>
              <a:t>Формирование механизмов </a:t>
            </a:r>
            <a:r>
              <a:rPr lang="ru-RU" sz="1600" b="1" dirty="0" smtClean="0">
                <a:solidFill>
                  <a:srgbClr val="328BB8"/>
                </a:solidFill>
                <a:cs typeface="Times New Roman" pitchFamily="18" charset="0"/>
              </a:rPr>
              <a:t>доступа к производственным ресурсам </a:t>
            </a:r>
            <a:endParaRPr lang="ru-RU" sz="1600" b="1" dirty="0">
              <a:solidFill>
                <a:srgbClr val="328BB8"/>
              </a:solidFill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012160" y="3359894"/>
            <a:ext cx="28784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600" dirty="0">
                <a:cs typeface="Times New Roman" pitchFamily="18" charset="0"/>
              </a:rPr>
              <a:t>Возможность </a:t>
            </a:r>
            <a:r>
              <a:rPr lang="ru-RU" sz="1600" dirty="0" smtClean="0">
                <a:cs typeface="Times New Roman" pitchFamily="18" charset="0"/>
              </a:rPr>
              <a:t>долгосрочного </a:t>
            </a:r>
            <a:r>
              <a:rPr lang="ru-RU" sz="1600" b="1" dirty="0" smtClean="0">
                <a:solidFill>
                  <a:srgbClr val="328BB8"/>
                </a:solidFill>
                <a:cs typeface="Times New Roman" pitchFamily="18" charset="0"/>
              </a:rPr>
              <a:t>планирования спроса </a:t>
            </a:r>
            <a:r>
              <a:rPr lang="ru-RU" sz="1600" dirty="0" smtClean="0">
                <a:cs typeface="Times New Roman" pitchFamily="18" charset="0"/>
              </a:rPr>
              <a:t>заказчиков</a:t>
            </a:r>
            <a:endParaRPr lang="ru-RU" sz="1600" dirty="0"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5085184"/>
            <a:ext cx="9144000" cy="17728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3344" y="5661248"/>
            <a:ext cx="84429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Комплексное решение проблем малых предприятий, занятых в сфере производства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даст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необходимый стимул  для роста российской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rPr>
              <a:t>экономики</a:t>
            </a:r>
            <a:endParaRPr lang="ru-RU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2050" name="Picture 2" descr="C:\Users\p.vashekba\Dropbox\ЕЭТП (не удалять)\Шаблон презентации ppt\267 серых иконок\3-4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560" y="2560513"/>
            <a:ext cx="877888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p.vashekba\Dropbox\ЕЭТП (не удалять)\Шаблон презентации ppt\267 серых иконок\3-0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525" y="2541463"/>
            <a:ext cx="742950" cy="742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p.vashekba\Dropbox\ЕЭТП (не удалять)\Шаблон презентации ppt\267 серых иконок\2-2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5014" y="2603376"/>
            <a:ext cx="712788" cy="619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762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емы к обсуждению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971600" y="1772816"/>
            <a:ext cx="72008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342900">
              <a:spcBef>
                <a:spcPts val="1200"/>
              </a:spcBef>
              <a:buClr>
                <a:srgbClr val="419DCB"/>
              </a:buClr>
              <a:buSzPct val="130000"/>
              <a:buFont typeface="+mj-lt"/>
              <a:buAutoNum type="arabicPeriod"/>
            </a:pP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imes New Roman" pitchFamily="18" charset="0"/>
              </a:rPr>
              <a:t>«Выращивание» поставщиков</a:t>
            </a:r>
          </a:p>
          <a:p>
            <a:pPr indent="-342900">
              <a:spcBef>
                <a:spcPts val="1200"/>
              </a:spcBef>
              <a:buClr>
                <a:srgbClr val="419DCB"/>
              </a:buClr>
              <a:buSzPct val="130000"/>
              <a:buFont typeface="+mj-lt"/>
              <a:buAutoNum type="arabicPeriod"/>
            </a:pP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imes New Roman" pitchFamily="18" charset="0"/>
              </a:rPr>
              <a:t>Офсетные контракты как механизм доступного финансирования бизнеса</a:t>
            </a:r>
          </a:p>
          <a:p>
            <a:pPr indent="-342900">
              <a:spcBef>
                <a:spcPts val="1200"/>
              </a:spcBef>
              <a:buClr>
                <a:srgbClr val="419DCB"/>
              </a:buClr>
              <a:buSzPct val="130000"/>
              <a:buFont typeface="+mj-lt"/>
              <a:buAutoNum type="arabicPeriod"/>
            </a:pP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imes New Roman" pitchFamily="18" charset="0"/>
              </a:rPr>
              <a:t>Меры концентрированной государственной поддержки:</a:t>
            </a:r>
          </a:p>
          <a:p>
            <a:pPr marL="720000" indent="-342900">
              <a:spcBef>
                <a:spcPts val="1200"/>
              </a:spcBef>
              <a:buClr>
                <a:srgbClr val="419DCB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imes New Roman" pitchFamily="18" charset="0"/>
              </a:rPr>
              <a:t>Доступ производителей к технологиям  и оборудованию</a:t>
            </a:r>
          </a:p>
          <a:p>
            <a:pPr marL="720000" indent="-342900">
              <a:spcBef>
                <a:spcPts val="1200"/>
              </a:spcBef>
              <a:buClr>
                <a:srgbClr val="419DCB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imes New Roman" pitchFamily="18" charset="0"/>
              </a:rPr>
              <a:t>Датирование процентной ставки по кредитам для производственных предприятий</a:t>
            </a:r>
          </a:p>
          <a:p>
            <a:pPr marL="720000" indent="-342900">
              <a:spcBef>
                <a:spcPts val="1200"/>
              </a:spcBef>
              <a:buClr>
                <a:srgbClr val="419DCB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Times New Roman" pitchFamily="18" charset="0"/>
              </a:rPr>
              <a:t>Страхование и гарантии по кредитам</a:t>
            </a:r>
          </a:p>
          <a:p>
            <a:pPr indent="-342900">
              <a:spcBef>
                <a:spcPts val="1200"/>
              </a:spcBef>
              <a:buClr>
                <a:srgbClr val="419DCB"/>
              </a:buClr>
              <a:buSzPct val="130000"/>
              <a:buFont typeface="+mj-lt"/>
              <a:buAutoNum type="arabicPeriod" startAt="4"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Times New Roman" pitchFamily="18" charset="0"/>
              </a:rPr>
              <a:t>Упрощение доступа к закупкам</a:t>
            </a:r>
          </a:p>
          <a:p>
            <a:pPr indent="-342900">
              <a:spcBef>
                <a:spcPts val="1200"/>
              </a:spcBef>
              <a:buClr>
                <a:srgbClr val="419DCB"/>
              </a:buClr>
              <a:buSzPct val="130000"/>
              <a:buFont typeface="+mj-lt"/>
              <a:buAutoNum type="arabicPeriod" startAt="4"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Times New Roman" pitchFamily="18" charset="0"/>
              </a:rPr>
              <a:t>Комплексная оценка деловой репутации поставщиков</a:t>
            </a:r>
          </a:p>
          <a:p>
            <a:pPr indent="-342900">
              <a:spcBef>
                <a:spcPts val="1200"/>
              </a:spcBef>
              <a:buClr>
                <a:srgbClr val="419DCB"/>
              </a:buClr>
              <a:buSzPct val="120000"/>
              <a:buFont typeface="+mj-lt"/>
              <a:buAutoNum type="arabicPeriod" startAt="4"/>
            </a:pPr>
            <a:endParaRPr lang="ru-RU" sz="1600" b="1" dirty="0" smtClean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1178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PHyuoAsE.WfpKbpzCq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gyreV53UuQxyFaNbCm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jNDmchyEKjzFiLJZg7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kcCHCYhkWTIiFVMB4t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j1aONpTEqE1dUmS2al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tjZZmatkShmFK7.iNA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VZS4yJ60qPLbGnti2Kb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HkQZI6lE6dpOStDmb5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BO91klUE6efw9mBOD7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vD57k2kkioNfvuRO01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nnPd2UkkyemQ7VEdmV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9R5_eF.UupMJ3jX9q8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tJw2qYZkKcgu3gH5n07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7rphS760.dwShkznpI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FLCClHJUiePClkAmyA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IfFQ86REWA20n7iS1e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Lq1BfX6UKd4PWOjJIW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V94YnhPUyIX6w3ihMl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P7L7ra9EC.bEf6UELX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IlOwkk8U6NkylWX2to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qARlA5FUCfgMmLjRr1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m3GnYTPUGGPI5GUHRp.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69wUdlOES9W1j.iSTDU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1" dirty="0">
            <a:solidFill>
              <a:schemeClr val="bg1"/>
            </a:solidFill>
            <a:latin typeface="+mj-lt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A4rb_Premium">
  <a:themeElements>
    <a:clrScheme name="ГлавКонтроль">
      <a:dk1>
        <a:sysClr val="windowText" lastClr="000000"/>
      </a:dk1>
      <a:lt1>
        <a:sysClr val="window" lastClr="FFFFFF"/>
      </a:lt1>
      <a:dk2>
        <a:srgbClr val="2C4155"/>
      </a:dk2>
      <a:lt2>
        <a:srgbClr val="B39170"/>
      </a:lt2>
      <a:accent1>
        <a:srgbClr val="B12726"/>
      </a:accent1>
      <a:accent2>
        <a:srgbClr val="D48887"/>
      </a:accent2>
      <a:accent3>
        <a:srgbClr val="D0E1EA"/>
      </a:accent3>
      <a:accent4>
        <a:srgbClr val="6EA9C0"/>
      </a:accent4>
      <a:accent5>
        <a:srgbClr val="2E8FAB"/>
      </a:accent5>
      <a:accent6>
        <a:srgbClr val="2B657E"/>
      </a:accent6>
      <a:hlink>
        <a:srgbClr val="0070C0"/>
      </a:hlink>
      <a:folHlink>
        <a:srgbClr val="581312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 cmpd="sng">
          <a:solidFill>
            <a:schemeClr val="accent3"/>
          </a:solidFill>
        </a:ln>
        <a:effectLst/>
      </a:spPr>
      <a:bodyPr lIns="72000" tIns="0" rIns="72000" bIns="0" rtlCol="0" anchor="ctr"/>
      <a:lstStyle>
        <a:defPPr>
          <a:lnSpc>
            <a:spcPct val="90000"/>
          </a:lnSpc>
          <a:spcBef>
            <a:spcPts val="300"/>
          </a:spcBef>
          <a:defRPr sz="1500" b="0" dirty="0" smtClean="0">
            <a:solidFill>
              <a:schemeClr val="tx1"/>
            </a:solidFill>
            <a:latin typeface="+mn-lt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0"/>
          </a:spcBef>
          <a:defRPr sz="1500" b="0" dirty="0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059</TotalTime>
  <Words>297</Words>
  <Application>Microsoft Office PowerPoint</Application>
  <PresentationFormat>Экран (4:3)</PresentationFormat>
  <Paragraphs>57</Paragraphs>
  <Slides>9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Тема Office</vt:lpstr>
      <vt:lpstr>1_A4rb_Premium</vt:lpstr>
      <vt:lpstr>ОТЧЁТ</vt:lpstr>
      <vt:lpstr>Презентация PowerPoint</vt:lpstr>
      <vt:lpstr>Сейчас или никогда</vt:lpstr>
      <vt:lpstr>Сейчас или никогда</vt:lpstr>
      <vt:lpstr>Исследования</vt:lpstr>
      <vt:lpstr>Результаты исследования. Структурная характеристика субъектов малого предпринимательства</vt:lpstr>
      <vt:lpstr>Результаты исследования Проблемы участия малого бизнеса в закупках</vt:lpstr>
      <vt:lpstr>Основные выводы</vt:lpstr>
      <vt:lpstr>Темы к обсуждению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 презентации</dc:title>
  <dc:creator>appolon</dc:creator>
  <cp:lastModifiedBy>Пахтусова Людмила Юрьевна</cp:lastModifiedBy>
  <cp:revision>303</cp:revision>
  <cp:lastPrinted>2016-04-26T10:44:23Z</cp:lastPrinted>
  <dcterms:created xsi:type="dcterms:W3CDTF">2013-03-20T15:26:59Z</dcterms:created>
  <dcterms:modified xsi:type="dcterms:W3CDTF">2016-04-26T10:44:29Z</dcterms:modified>
</cp:coreProperties>
</file>